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15"/>
  </p:notesMasterIdLst>
  <p:handoutMasterIdLst>
    <p:handoutMasterId r:id="rId16"/>
  </p:handoutMasterIdLst>
  <p:sldIdLst>
    <p:sldId id="1349" r:id="rId2"/>
    <p:sldId id="1381" r:id="rId3"/>
    <p:sldId id="1384" r:id="rId4"/>
    <p:sldId id="1378" r:id="rId5"/>
    <p:sldId id="1362" r:id="rId6"/>
    <p:sldId id="1363" r:id="rId7"/>
    <p:sldId id="1364" r:id="rId8"/>
    <p:sldId id="1392" r:id="rId9"/>
    <p:sldId id="1366" r:id="rId10"/>
    <p:sldId id="1379" r:id="rId11"/>
    <p:sldId id="1393" r:id="rId12"/>
    <p:sldId id="1394" r:id="rId13"/>
    <p:sldId id="1396" r:id="rId14"/>
  </p:sldIdLst>
  <p:sldSz cx="12599988" cy="864076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E79"/>
    <a:srgbClr val="E7F5FE"/>
    <a:srgbClr val="00A1D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65" d="100"/>
          <a:sy n="65" d="100"/>
        </p:scale>
        <p:origin x="1176" y="78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10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42B58284-BD55-477D-829B-0D8B66B41141}" type="datetimeFigureOut">
              <a:rPr lang="en-US"/>
              <a:pPr/>
              <a:t>7/4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7/4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3575" y="741363"/>
            <a:ext cx="53990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23" tIns="68315" rIns="136623" bIns="683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7" y="4690273"/>
            <a:ext cx="5380958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pn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12" Type="http://schemas.openxmlformats.org/officeDocument/2006/relationships/image" Target="../media/image16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jpeg"/><Relationship Id="rId4" Type="http://schemas.openxmlformats.org/officeDocument/2006/relationships/image" Target="../media/image8.jpe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corpmsp.ru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4216178"/>
            <a:ext cx="10001242" cy="2153327"/>
          </a:xfrm>
        </p:spPr>
        <p:txBody>
          <a:bodyPr/>
          <a:lstStyle/>
          <a:p>
            <a:r>
              <a:rPr lang="ru-RU" sz="4400" dirty="0"/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Приложение 1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орядок отнесения ЮЛ и ИП к субъектам МСП в соответствии с 209-ФЗ </a:t>
            </a:r>
          </a:p>
        </p:txBody>
      </p:sp>
    </p:spTree>
    <p:extLst>
      <p:ext uri="{BB962C8B-B14F-4D97-AF65-F5344CB8AC3E}">
        <p14:creationId xmlns:p14="http://schemas.microsoft.com/office/powerpoint/2010/main" val="327576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0506" y="1213863"/>
            <a:ext cx="11884197" cy="584775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+mn-cs"/>
              </a:rPr>
              <a:t>Критерии отнесения юридических лиц и индивидуальных предпринимателей к категории субъектов МСП определены в статье 4 Федерального закона № 209-ФЗ: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5990401"/>
              </p:ext>
            </p:extLst>
          </p:nvPr>
        </p:nvGraphicFramePr>
        <p:xfrm>
          <a:off x="363538" y="1984177"/>
          <a:ext cx="11891166" cy="3590136"/>
        </p:xfrm>
        <a:graphic>
          <a:graphicData uri="http://schemas.openxmlformats.org/drawingml/2006/table">
            <a:tbl>
              <a:tblPr firstRow="1" firstCol="1" bandRow="1"/>
              <a:tblGrid>
                <a:gridCol w="4092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4994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 требова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рмативное значе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3063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труктура уставного (складочного) капитала юридического лица</a:t>
                      </a:r>
                      <a:endParaRPr lang="ru-RU" sz="12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Российской Федерации, субъектов Российской Федерации, муниципальных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разований, общественных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 религиозных организаций (объединений), благотворительных и иных фондов в уставном (складочном) капитале (паевом фонде) Заемщика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%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;</a:t>
                      </a: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иностранных юридических лиц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;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, принадлежащая одному или нескольким юридическим лицам, не являющимся субъектами малого и среднего предпринимательства,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*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яя численность работников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0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еловек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Выручка от реализации товаров (работ, услуг) без учета налога на добавленную стоимость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 млрд. руб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.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2111307" y="3855312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3538" y="5836052"/>
            <a:ext cx="1189116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*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Указанное ограничение не распространяется: </a:t>
            </a: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хозяйственные общества, хозяйственные партнерства, деятельность которых заключается в практическом применении (внедрении) результатов интеллектуальной деятельности (программ для электронных вычислительных машин, баз данных, изобретений, полезных моделей, промышленных образцов, селекционных достижений, топологий интегральных микросхем, секретов производства (ноу-хау), исключительные права на которые принадлежат учредителям (участникам) соответственно таких хозяйственных обществ, хозяйственных партнерств - бюджетным, автономным научным учреждениям либо являющимся бюджетными учреждениями, автономными учреждениями образовательным организациям высшего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образования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получившие статус участника проекта в соответствии с Федеральным законом от 28 сентября 2010 года N 244-ФЗ "Об инновационном центре "</a:t>
            </a:r>
            <a:r>
              <a:rPr lang="ru-RU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Сколково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"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учредителями (участниками) которых являются юридические лица, включенные в утвержденный Правительством Российской Федерации 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. Юридические лица включаются в данный перечень в порядке, установленном Правительством Российской Федерации, при условии соответствия одному из следующих критериев:</a:t>
            </a:r>
          </a:p>
          <a:p>
            <a:pPr marL="179388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а) юридические лица являются открытыми акционерными обществами, не менее пятидесяти процентов акций которых находится в собственности Российской Федерации, или хозяйственными обществами, в которых данные открытые акционерные общества имеют право прямо и (или) косвенно распоряжаться более чем пятьюдесятью процентами голосов, приходящихся на голосующие акции (доли), составляющие уставные капиталы таких хозяйственных обществ, либо имеют возможность назначать единоличный исполнительный орган и (или) более половины состава коллегиального исполнительного органа, а также возможность определять избрание более половины состава совета директоров (наблюдательного совета);</a:t>
            </a:r>
          </a:p>
          <a:p>
            <a:pPr marL="179388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б) юридические лица являются государственными корпорациями, учрежденными в соответствии с Федеральным законом от 12 января 1996 года N 7-ФЗ "О некоммерческих организациях.</a:t>
            </a:r>
          </a:p>
        </p:txBody>
      </p:sp>
    </p:spTree>
    <p:extLst>
      <p:ext uri="{BB962C8B-B14F-4D97-AF65-F5344CB8AC3E}">
        <p14:creationId xmlns:p14="http://schemas.microsoft.com/office/powerpoint/2010/main" val="4260919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</a:t>
            </a:r>
            <a:r>
              <a:rPr lang="ru-RU" dirty="0" smtClean="0"/>
              <a:t>в </a:t>
            </a:r>
            <a:r>
              <a:rPr lang="ru-RU" dirty="0"/>
              <a:t>соответствии </a:t>
            </a:r>
            <a:r>
              <a:rPr lang="ru-RU" dirty="0" smtClean="0"/>
              <a:t>с </a:t>
            </a:r>
            <a:br>
              <a:rPr lang="ru-RU" dirty="0" smtClean="0"/>
            </a:br>
            <a:r>
              <a:rPr lang="ru-RU" dirty="0" smtClean="0"/>
              <a:t>209-ФЗ</a:t>
            </a:r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091804" y="3715800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013" y="2232501"/>
            <a:ext cx="5184595" cy="5449768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604" y="2232500"/>
            <a:ext cx="5330749" cy="560339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370506" y="1213863"/>
            <a:ext cx="11884197" cy="830997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>
                <a:solidFill>
                  <a:prstClr val="black"/>
                </a:solidFill>
              </a:rPr>
              <a:t>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</a:t>
            </a:r>
          </a:p>
        </p:txBody>
      </p:sp>
    </p:spTree>
    <p:extLst>
      <p:ext uri="{BB962C8B-B14F-4D97-AF65-F5344CB8AC3E}">
        <p14:creationId xmlns:p14="http://schemas.microsoft.com/office/powerpoint/2010/main" val="225281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49" name="Текст 2"/>
          <p:cNvSpPr txBox="1">
            <a:spLocks/>
          </p:cNvSpPr>
          <p:nvPr/>
        </p:nvSpPr>
        <p:spPr>
          <a:xfrm>
            <a:off x="370506" y="851087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Первичная сегментация субъекта МСП</a:t>
            </a:r>
            <a:endParaRPr lang="ru-RU" b="1" kern="0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632965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363538" y="1890330"/>
            <a:ext cx="11878481" cy="2295092"/>
            <a:chOff x="363538" y="1890330"/>
            <a:chExt cx="11878481" cy="1855381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363538" y="1978680"/>
              <a:ext cx="7720038" cy="1767031"/>
              <a:chOff x="363538" y="2361861"/>
              <a:chExt cx="6848118" cy="2220413"/>
            </a:xfrm>
          </p:grpSpPr>
          <p:grpSp>
            <p:nvGrpSpPr>
              <p:cNvPr id="51" name="Группа 50"/>
              <p:cNvGrpSpPr/>
              <p:nvPr/>
            </p:nvGrpSpPr>
            <p:grpSpPr>
              <a:xfrm>
                <a:off x="363538" y="2361861"/>
                <a:ext cx="5009846" cy="2220413"/>
                <a:chOff x="900923" y="2297747"/>
                <a:chExt cx="4553513" cy="1577725"/>
              </a:xfrm>
            </p:grpSpPr>
            <p:sp>
              <p:nvSpPr>
                <p:cNvPr id="61" name="Rectangle 2">
                  <a:hlinkClick r:id="" action="ppaction://noaction"/>
                </p:cNvPr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900923" y="2550332"/>
                  <a:ext cx="1680352" cy="943324"/>
                </a:xfrm>
                <a:prstGeom prst="rect">
                  <a:avLst/>
                </a:prstGeom>
                <a:noFill/>
                <a:ln>
                  <a:solidFill>
                    <a:srgbClr val="1F4E79"/>
                  </a:solidFill>
                </a:ln>
              </p:spPr>
              <p:txBody>
                <a:bodyPr wrap="square" lIns="72000" tIns="0" rIns="36000" bIns="0" anchor="ctr">
                  <a:noAutofit/>
                </a:bodyPr>
                <a:lstStyle/>
                <a:p>
                  <a:pPr marL="177800" defTabSz="957263">
                    <a:lnSpc>
                      <a:spcPct val="106000"/>
                    </a:lnSpc>
                    <a:spcBef>
                      <a:spcPts val="300"/>
                    </a:spcBef>
                  </a:pPr>
                  <a:r>
                    <a:rPr lang="ru-RU" altLang="ja-JP" sz="1400" dirty="0">
                      <a:latin typeface="+mn-lt"/>
                      <a:cs typeface="+mn-cs"/>
                    </a:rPr>
                    <a:t>Анализируем </a:t>
                  </a:r>
                  <a:r>
                    <a:rPr lang="ru-RU" altLang="ja-JP" sz="1400" dirty="0" smtClean="0">
                      <a:latin typeface="+mn-lt"/>
                      <a:cs typeface="+mn-cs"/>
                    </a:rPr>
                    <a:t>календарный год, </a:t>
                  </a:r>
                  <a:r>
                    <a:rPr lang="ru-RU" altLang="ja-JP" sz="1400" dirty="0" smtClean="0"/>
                    <a:t>предшествующий текущему</a:t>
                  </a:r>
                  <a:endParaRPr lang="ru-RU" altLang="ja-JP" sz="1400" b="1" dirty="0">
                    <a:latin typeface="+mn-lt"/>
                    <a:cs typeface="+mn-cs"/>
                  </a:endParaRPr>
                </a:p>
              </p:txBody>
            </p:sp>
            <p:grpSp>
              <p:nvGrpSpPr>
                <p:cNvPr id="53" name="Группа 52"/>
                <p:cNvGrpSpPr/>
                <p:nvPr/>
              </p:nvGrpSpPr>
              <p:grpSpPr>
                <a:xfrm>
                  <a:off x="3276600" y="2297747"/>
                  <a:ext cx="2177836" cy="644304"/>
                  <a:chOff x="4426165" y="6418251"/>
                  <a:chExt cx="2177836" cy="644304"/>
                </a:xfrm>
              </p:grpSpPr>
              <p:sp>
                <p:nvSpPr>
                  <p:cNvPr id="59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auto">
                  <a:xfrm>
                    <a:off x="4933172" y="6418251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соответствует критериям 209-ФЗ</a:t>
                    </a:r>
                  </a:p>
                </p:txBody>
              </p:sp>
              <p:sp>
                <p:nvSpPr>
                  <p:cNvPr id="60" name="TextBox 59"/>
                  <p:cNvSpPr txBox="1"/>
                  <p:nvPr/>
                </p:nvSpPr>
                <p:spPr>
                  <a:xfrm>
                    <a:off x="4426165" y="6418251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altLang="ja-JP" sz="3600" kern="0" dirty="0">
                        <a:solidFill>
                          <a:srgbClr val="3C8A2E"/>
                        </a:solidFill>
                        <a:ea typeface="ＭＳ Ｐゴシック" charset="-128"/>
                        <a:sym typeface="Wingdings" pitchFamily="2" charset="2"/>
                      </a:rPr>
                      <a:t></a:t>
                    </a:r>
                    <a:endParaRPr lang="en-US" sz="3600" kern="0" dirty="0">
                      <a:solidFill>
                        <a:srgbClr val="3C8A2E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grpSp>
              <p:nvGrpSpPr>
                <p:cNvPr id="54" name="Группа 53"/>
                <p:cNvGrpSpPr/>
                <p:nvPr/>
              </p:nvGrpSpPr>
              <p:grpSpPr>
                <a:xfrm>
                  <a:off x="3276600" y="3231168"/>
                  <a:ext cx="2177836" cy="644304"/>
                  <a:chOff x="4426165" y="7161812"/>
                  <a:chExt cx="2177836" cy="644304"/>
                </a:xfrm>
              </p:grpSpPr>
              <p:sp>
                <p:nvSpPr>
                  <p:cNvPr id="57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4933172" y="7161812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не соответствует критериям 209-ФЗ</a:t>
                    </a: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4426165" y="7161812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algn="ctr"/>
                    <a:r>
                      <a:rPr lang="en-US" altLang="ja-JP" sz="3600" dirty="0">
                        <a:solidFill>
                          <a:srgbClr val="C00000"/>
                        </a:solidFill>
                        <a:ea typeface="ＭＳ Ｐゴシック" charset="-128"/>
                        <a:sym typeface="Wingdings" pitchFamily="2" charset="2"/>
                      </a:rPr>
                      <a:t></a:t>
                    </a:r>
                    <a:endParaRPr lang="en-US" sz="3600" dirty="0">
                      <a:solidFill>
                        <a:srgbClr val="C00000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cxnSp>
              <p:nvCxnSpPr>
                <p:cNvPr id="55" name="Соединительная линия уступом 54"/>
                <p:cNvCxnSpPr>
                  <a:stCxn id="61" idx="3"/>
                  <a:endCxn id="60" idx="1"/>
                </p:cNvCxnSpPr>
                <p:nvPr/>
              </p:nvCxnSpPr>
              <p:spPr>
                <a:xfrm flipV="1">
                  <a:off x="2581275" y="2619899"/>
                  <a:ext cx="695325" cy="402096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Соединительная линия уступом 55"/>
                <p:cNvCxnSpPr>
                  <a:stCxn id="61" idx="3"/>
                  <a:endCxn id="58" idx="1"/>
                </p:cNvCxnSpPr>
                <p:nvPr/>
              </p:nvCxnSpPr>
              <p:spPr>
                <a:xfrm>
                  <a:off x="2581275" y="3021995"/>
                  <a:ext cx="695325" cy="531325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725824" y="2361862"/>
                <a:ext cx="1485832" cy="906762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является субъектом МСП</a:t>
                </a:r>
              </a:p>
            </p:txBody>
          </p:sp>
          <p:cxnSp>
            <p:nvCxnSpPr>
              <p:cNvPr id="76" name="Прямая со стрелкой 75"/>
              <p:cNvCxnSpPr>
                <a:stCxn id="59" idx="3"/>
                <a:endCxn id="63" idx="1"/>
              </p:cNvCxnSpPr>
              <p:nvPr/>
            </p:nvCxnSpPr>
            <p:spPr>
              <a:xfrm>
                <a:off x="5373384" y="2815242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725824" y="3675512"/>
                <a:ext cx="1485832" cy="90676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не является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субъектом МСП</a:t>
                </a:r>
              </a:p>
            </p:txBody>
          </p:sp>
          <p:cxnSp>
            <p:nvCxnSpPr>
              <p:cNvPr id="95" name="Прямая со стрелкой 94"/>
              <p:cNvCxnSpPr>
                <a:stCxn id="57" idx="3"/>
                <a:endCxn id="93" idx="1"/>
              </p:cNvCxnSpPr>
              <p:nvPr/>
            </p:nvCxnSpPr>
            <p:spPr>
              <a:xfrm>
                <a:off x="5373384" y="4128893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6" name="Прямоугольник 95"/>
            <p:cNvSpPr/>
            <p:nvPr/>
          </p:nvSpPr>
          <p:spPr>
            <a:xfrm>
              <a:off x="8599471" y="1890330"/>
              <a:ext cx="3642548" cy="1611409"/>
            </a:xfrm>
            <a:prstGeom prst="rect">
              <a:avLst/>
            </a:prstGeom>
            <a:solidFill>
              <a:srgbClr val="E7F5FE"/>
            </a:solidFill>
          </p:spPr>
          <p:txBody>
            <a:bodyPr wrap="square" lIns="144000" tIns="0" rIns="36000" bIns="0" anchor="ctr">
              <a:noAutofit/>
            </a:bodyPr>
            <a:lstStyle/>
            <a:p>
              <a:pPr marL="627063" defTabSz="957263">
                <a:lnSpc>
                  <a:spcPct val="106000"/>
                </a:lnSpc>
                <a:spcBef>
                  <a:spcPts val="0"/>
                </a:spcBef>
              </a:pPr>
              <a:r>
                <a:rPr lang="ru-RU" sz="1600" dirty="0" smtClean="0">
                  <a:solidFill>
                    <a:srgbClr val="1F4E79"/>
                  </a:solidFill>
                </a:rPr>
                <a:t>В целях </a:t>
              </a:r>
              <a:r>
                <a:rPr lang="ru-RU" sz="1600" dirty="0">
                  <a:solidFill>
                    <a:srgbClr val="1F4E79"/>
                  </a:solidFill>
                </a:rPr>
                <a:t>первичной сегментации не </a:t>
              </a:r>
              <a:r>
                <a:rPr lang="ru-RU" sz="1600" dirty="0" smtClean="0">
                  <a:solidFill>
                    <a:srgbClr val="1F4E79"/>
                  </a:solidFill>
                </a:rPr>
                <a:t>анализируются: 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текущий отчетный период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периоды до календарного года, </a:t>
              </a:r>
              <a:r>
                <a:rPr lang="ru-RU" sz="1600" dirty="0" smtClean="0">
                  <a:solidFill>
                    <a:srgbClr val="1F4E79"/>
                  </a:solidFill>
                </a:rPr>
                <a:t>предшествующего текущему</a:t>
              </a:r>
              <a:r>
                <a:rPr lang="en-US" sz="1600" dirty="0" smtClean="0">
                  <a:solidFill>
                    <a:srgbClr val="1F4E79"/>
                  </a:solidFill>
                </a:rPr>
                <a:t>*</a:t>
              </a:r>
              <a:r>
                <a:rPr lang="ru-RU" sz="1600" dirty="0" smtClean="0">
                  <a:solidFill>
                    <a:srgbClr val="1F4E79"/>
                  </a:solidFill>
                </a:rPr>
                <a:t> </a:t>
              </a:r>
              <a:endParaRPr lang="ru-RU" sz="1600" dirty="0">
                <a:solidFill>
                  <a:srgbClr val="1F4E79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63538" y="6103406"/>
            <a:ext cx="11878480" cy="1205317"/>
          </a:xfrm>
          <a:prstGeom prst="rect">
            <a:avLst/>
          </a:prstGeom>
          <a:solidFill>
            <a:srgbClr val="E7F5FE"/>
          </a:solidFill>
        </p:spPr>
        <p:txBody>
          <a:bodyPr wrap="square" lIns="144000" tIns="0" rIns="36000" bIns="0" anchor="ctr">
            <a:noAutofit/>
          </a:bodyPr>
          <a:lstStyle/>
          <a:p>
            <a:pPr marL="627063"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Категория субъекта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МСП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зменяется в случае, если предельные значения </a:t>
            </a:r>
            <a:r>
              <a:rPr lang="ru-RU" sz="1600" dirty="0">
                <a:solidFill>
                  <a:srgbClr val="1F4E79"/>
                </a:solidFill>
              </a:rPr>
              <a:t>в течение </a:t>
            </a:r>
            <a:r>
              <a:rPr lang="en-US" sz="1600" dirty="0" smtClean="0">
                <a:solidFill>
                  <a:srgbClr val="1F4E79"/>
                </a:solidFill>
              </a:rPr>
              <a:t>3</a:t>
            </a:r>
            <a:r>
              <a:rPr lang="ru-RU" sz="1600" dirty="0" smtClean="0">
                <a:solidFill>
                  <a:srgbClr val="1F4E79"/>
                </a:solidFill>
              </a:rPr>
              <a:t> </a:t>
            </a:r>
            <a:r>
              <a:rPr lang="ru-RU" sz="1600" dirty="0">
                <a:solidFill>
                  <a:srgbClr val="1F4E79"/>
                </a:solidFill>
              </a:rPr>
              <a:t>календарных лет, следующих один за </a:t>
            </a:r>
            <a:r>
              <a:rPr lang="ru-RU" sz="1600" dirty="0" smtClean="0">
                <a:solidFill>
                  <a:srgbClr val="1F4E79"/>
                </a:solidFill>
              </a:rPr>
              <a:t>другим, находятся на уровн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выше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ли ниж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следующих предельных значений, установленных в соответствии со статьей 4 Федерального закона </a:t>
            </a:r>
            <a:r>
              <a:rPr lang="en-US" sz="1600" dirty="0" smtClean="0">
                <a:solidFill>
                  <a:srgbClr val="1F4E79"/>
                </a:solidFill>
                <a:latin typeface="+mn-lt"/>
                <a:cs typeface="+mn-cs"/>
              </a:rPr>
              <a:t>N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209-ФЗ</a:t>
            </a:r>
            <a:endParaRPr lang="ru-RU" sz="1600" dirty="0">
              <a:solidFill>
                <a:srgbClr val="1F4E79"/>
              </a:solidFill>
              <a:latin typeface="+mn-lt"/>
              <a:cs typeface="+mn-cs"/>
            </a:endParaRPr>
          </a:p>
        </p:txBody>
      </p:sp>
      <p:sp>
        <p:nvSpPr>
          <p:cNvPr id="28" name="Текст 2"/>
          <p:cNvSpPr txBox="1">
            <a:spLocks/>
          </p:cNvSpPr>
          <p:nvPr/>
        </p:nvSpPr>
        <p:spPr>
          <a:xfrm>
            <a:off x="370506" y="5119516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smtClean="0"/>
              <a:t>Пересегментация субъекта МСП</a:t>
            </a:r>
            <a:endParaRPr lang="ru-RU" b="1" kern="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63538" y="5901394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/>
          <p:cNvGrpSpPr/>
          <p:nvPr/>
        </p:nvGrpSpPr>
        <p:grpSpPr>
          <a:xfrm>
            <a:off x="8759417" y="2087943"/>
            <a:ext cx="474736" cy="523220"/>
            <a:chOff x="200025" y="5799115"/>
            <a:chExt cx="475107" cy="523627"/>
          </a:xfrm>
        </p:grpSpPr>
        <p:sp>
          <p:nvSpPr>
            <p:cNvPr id="31" name="Равнобедренный треугольник 30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87156" y="6444454"/>
            <a:ext cx="474736" cy="523220"/>
            <a:chOff x="200025" y="5799115"/>
            <a:chExt cx="475107" cy="523627"/>
          </a:xfrm>
        </p:grpSpPr>
        <p:sp>
          <p:nvSpPr>
            <p:cNvPr id="34" name="Равнобедренный треугольник 33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8560390" y="3921866"/>
            <a:ext cx="38196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пример, по состоянию на 2016 г. : 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екущий отчетный период – 2016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шествующий календарный год – 2015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ы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 календарного года, предшествующего текущему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– 2014 г. и ранее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01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35659" y="152402"/>
            <a:ext cx="8519044" cy="698685"/>
          </a:xfrm>
        </p:spPr>
        <p:txBody>
          <a:bodyPr/>
          <a:lstStyle/>
          <a:p>
            <a:r>
              <a:rPr lang="ru-RU" dirty="0" smtClean="0"/>
              <a:t>О Корпорации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63538" y="4005313"/>
            <a:ext cx="11891163" cy="3044979"/>
            <a:chOff x="698997" y="2325435"/>
            <a:chExt cx="11891163" cy="3044979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705965" y="2325435"/>
              <a:ext cx="1695269" cy="3044979"/>
            </a:xfrm>
            <a:prstGeom prst="roundRect">
              <a:avLst>
                <a:gd name="adj" fmla="val 4144"/>
              </a:avLst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Осуществляет деятельность в соответствии с Федеральным законом от 24.07.07 № 209-ФЗ «О развитии малого и среднего предпринимательства в Российской Федерации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100% акций принадлежит Российской Федерации в лице Федерального агентства по управлению государственным имуществом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Уставный капитал - 50 млрд. рублей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Корпорация обеспечивает исполнение обязательств, принятых на себя АО «НДКО «АКГ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98997" y="4209549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Ключевые факты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3134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27656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8805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363538" y="2113956"/>
            <a:ext cx="11891164" cy="1456603"/>
            <a:chOff x="698997" y="5644556"/>
            <a:chExt cx="11891164" cy="1456603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908299" y="5811037"/>
              <a:ext cx="9681862" cy="112364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Корпорация </a:t>
              </a:r>
              <a:r>
                <a:rPr lang="ru-RU" sz="1600" dirty="0">
                  <a:latin typeface="+mj-lt"/>
                  <a:cs typeface="+mn-cs"/>
                </a:rPr>
                <a:t>– институт развития в сфере малого и среднего </a:t>
              </a:r>
              <a:r>
                <a:rPr lang="ru-RU" sz="1600" dirty="0" smtClean="0">
                  <a:latin typeface="+mj-lt"/>
                  <a:cs typeface="+mn-cs"/>
                </a:rPr>
                <a:t>предпринимательства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705965" y="5644556"/>
              <a:ext cx="1695269" cy="1456603"/>
            </a:xfrm>
            <a:prstGeom prst="roundRect">
              <a:avLst>
                <a:gd name="adj" fmla="val 4144"/>
              </a:avLst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698997" y="6640027"/>
              <a:ext cx="1709204" cy="35118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Миссия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pic>
          <p:nvPicPr>
            <p:cNvPr id="27" name="Picture 10" descr="C:\Users\jsauvageau\Desktop\4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2222" y="5785212"/>
              <a:ext cx="762754" cy="762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L-Shape 10"/>
            <p:cNvSpPr/>
            <p:nvPr/>
          </p:nvSpPr>
          <p:spPr>
            <a:xfrm rot="13701821">
              <a:off x="2463710" y="621265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751292" y="4440431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63697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АО «Федеральная корпорация по развитию малого и среднего предпринимательства</a:t>
            </a:r>
            <a:r>
              <a:rPr lang="ru-RU" b="1" dirty="0" smtClean="0"/>
              <a:t>»</a:t>
            </a:r>
            <a:endParaRPr lang="ru-RU" b="1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57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43086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62395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2391732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4315665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6239597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70506" y="2391732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Основные задачи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49183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065775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ирование - привлечение денежных </a:t>
            </a:r>
            <a:r>
              <a:rPr lang="ru-RU" sz="1600" dirty="0">
                <a:latin typeface="+mn-lt"/>
                <a:cs typeface="+mn-cs"/>
              </a:rPr>
              <a:t>средств российских, иностранных и международных организац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Гарантийная 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Сопровождение инвестиционных проектов МСП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государственным закупкам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власт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звитие законодательства в сфере МСП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6718481" y="6403616"/>
            <a:ext cx="790685" cy="1128564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cxnSp>
        <p:nvCxnSpPr>
          <p:cNvPr id="89" name="Прямая соединительная линия 88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2209" y="2500697"/>
            <a:ext cx="1337582" cy="405375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1400" b="1" dirty="0" smtClean="0">
                <a:latin typeface="+mn-lt"/>
                <a:cs typeface="+mn-cs"/>
              </a:rPr>
              <a:t>ГОСЗАКАЗ</a:t>
            </a:r>
            <a:endParaRPr lang="ru-RU" sz="1400" b="1" dirty="0">
              <a:latin typeface="+mn-lt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553733" y="4451518"/>
            <a:ext cx="1007003" cy="1243703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608432" y="4425197"/>
            <a:ext cx="1223602" cy="1223602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800" b="1" dirty="0" smtClean="0">
                  <a:latin typeface="+mn-lt"/>
                  <a:cs typeface="+mn-cs"/>
                </a:rPr>
                <a:t>Гарантия</a:t>
              </a:r>
              <a:endParaRPr lang="ru-RU" sz="18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52" name="Овал 151"/>
          <p:cNvSpPr/>
          <p:nvPr/>
        </p:nvSpPr>
        <p:spPr>
          <a:xfrm>
            <a:off x="794586" y="2805901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444590" y="6468900"/>
            <a:ext cx="1624233" cy="1036429"/>
            <a:chOff x="402268" y="6524625"/>
            <a:chExt cx="1342341" cy="856553"/>
          </a:xfrm>
        </p:grpSpPr>
        <p:sp>
          <p:nvSpPr>
            <p:cNvPr id="129" name="Freeform 72"/>
            <p:cNvSpPr>
              <a:spLocks noChangeAspect="1" noEditPoints="1"/>
            </p:cNvSpPr>
            <p:nvPr/>
          </p:nvSpPr>
          <p:spPr bwMode="auto">
            <a:xfrm>
              <a:off x="1172328" y="6561951"/>
              <a:ext cx="572281" cy="78190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2268" y="6524625"/>
              <a:ext cx="856553" cy="856553"/>
            </a:xfrm>
            <a:prstGeom prst="rect">
              <a:avLst/>
            </a:prstGeom>
          </p:spPr>
        </p:pic>
      </p:grp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2926255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3" name="Овал 152"/>
          <p:cNvSpPr/>
          <p:nvPr/>
        </p:nvSpPr>
        <p:spPr>
          <a:xfrm>
            <a:off x="1319939" y="3169718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€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1373806" y="2578082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£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5" name="Стрелка вниз 154"/>
          <p:cNvSpPr/>
          <p:nvPr/>
        </p:nvSpPr>
        <p:spPr>
          <a:xfrm rot="16200000">
            <a:off x="656132" y="3189478"/>
            <a:ext cx="416524" cy="725429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Программа </a:t>
            </a:r>
            <a:r>
              <a:rPr lang="ru-RU" dirty="0"/>
              <a:t>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предпринимательств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94234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101979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9443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30454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07918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660804" y="6112140"/>
            <a:ext cx="11416896" cy="1934633"/>
            <a:chOff x="541245" y="6476168"/>
            <a:chExt cx="7544837" cy="1278499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6408" y="6652246"/>
              <a:ext cx="958195" cy="384581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712" y="7220332"/>
              <a:ext cx="914808" cy="30646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5591" y="7130246"/>
              <a:ext cx="1248841" cy="624421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1" b="30292"/>
            <a:stretch/>
          </p:blipFill>
          <p:spPr>
            <a:xfrm>
              <a:off x="4830707" y="6476168"/>
              <a:ext cx="1333861" cy="444947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5660" y="7295042"/>
              <a:ext cx="1087332" cy="29483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49" y="7057771"/>
              <a:ext cx="928501" cy="46425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0777" y="7184321"/>
              <a:ext cx="1127619" cy="233042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0036" y="6892882"/>
              <a:ext cx="1389565" cy="368573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5352" y="6561169"/>
              <a:ext cx="580730" cy="580730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36" b="24288"/>
            <a:stretch/>
          </p:blipFill>
          <p:spPr>
            <a:xfrm>
              <a:off x="3154100" y="6584461"/>
              <a:ext cx="966617" cy="443806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816457" y="6964475"/>
              <a:ext cx="1350345" cy="268490"/>
            </a:xfrm>
            <a:prstGeom prst="rect">
              <a:avLst/>
            </a:prstGeom>
          </p:spPr>
        </p:pic>
        <p:pic>
          <p:nvPicPr>
            <p:cNvPr id="47" name="Picture 2" descr="F:\logo-sberbank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41245" y="6594371"/>
              <a:ext cx="1076647" cy="269162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8390" y="152402"/>
            <a:ext cx="8686313" cy="698685"/>
          </a:xfrm>
        </p:spPr>
        <p:txBody>
          <a:bodyPr/>
          <a:lstStyle/>
          <a:p>
            <a:r>
              <a:rPr lang="ru-RU" dirty="0"/>
              <a:t>Базовые требования к условиям кредитования конечных </a:t>
            </a:r>
            <a:r>
              <a:rPr lang="ru-RU" dirty="0" smtClean="0"/>
              <a:t>заемщиков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61303"/>
              </p:ext>
            </p:extLst>
          </p:nvPr>
        </p:nvGraphicFramePr>
        <p:xfrm>
          <a:off x="351349" y="1231901"/>
          <a:ext cx="11903353" cy="6787132"/>
        </p:xfrm>
        <a:graphic>
          <a:graphicData uri="http://schemas.openxmlformats.org/drawingml/2006/table">
            <a:tbl>
              <a:tblPr firstRow="1" bandRow="1"/>
              <a:tblGrid>
                <a:gridCol w="22131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901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млн. рубле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. рублей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.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а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возобновляемая кредитная ли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обновляемая кредитная ли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1535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517713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1%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-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5%) при предоставлении поручительства Корпорации за уполномоченные банки перед Банком России, плюс 3,0 % годовых (при условии, что конечным заемщиком является субъект среднего предпринимательства) или 4,0 % годовых </a:t>
                      </a:r>
                      <a:b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90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9541" y="152402"/>
            <a:ext cx="8675162" cy="698685"/>
          </a:xfrm>
        </p:spPr>
        <p:txBody>
          <a:bodyPr/>
          <a:lstStyle/>
          <a:p>
            <a:r>
              <a:rPr lang="ru-RU" dirty="0"/>
              <a:t>Базовые требования к конечным заемщикам</a:t>
            </a:r>
            <a:r>
              <a:rPr lang="ru-RU" dirty="0" smtClean="0"/>
              <a:t>*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1347" y="7885815"/>
            <a:ext cx="11493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Уполномоченные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 вправе установить дополнительные критерии приемлемости инвестиционных проектов, в том числе дополнительные требования к конечным заемщикам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  Перечень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ается Министерством финансов Российской Федерации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ь рассчитывается в соответствии с Методикой, являющейся приложением к Регламенту взаимодействия Корпорации и банков при реализации Программы. </a:t>
            </a:r>
            <a:endParaRPr 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931586"/>
              </p:ext>
            </p:extLst>
          </p:nvPr>
        </p:nvGraphicFramePr>
        <p:xfrm>
          <a:off x="351349" y="1231901"/>
          <a:ext cx="11903353" cy="6621780"/>
        </p:xfrm>
        <a:graphic>
          <a:graphicData uri="http://schemas.openxmlformats.org/drawingml/2006/table">
            <a:tbl>
              <a:tblPr firstRow="1" bandRow="1"/>
              <a:tblGrid>
                <a:gridCol w="22236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796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допустимых (приоритетных) отраслей экономики по Программе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е хозяйство, включая производство сельскохозяйственной продукции, а также предоставление услуг в этой отрасли экономик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распределение электроэнергии, газа и во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 и связь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истская деятельность и деятельность в области туристской индустрии в целях развития внутреннего туризм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07.07.2011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– субъект МСП, соответствующий требованиям Федерального закона от 24 июля 2007 года № 209-ФЗ «О развитии малого и среднего предпринимательства в Российской Федерации», с учетом ограничений, установленных частями 3 и 4 статьи 14 Закона о развитии МСП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в статусе юридического лиц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на территории Российской Федераци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ридическое лицо, являющееся контролирующим лицом конечного заемщика, не должно быть зарегистрировано в государстве или на территории, которые предоставляют льготный налоговый режим налогообложения и (или) не предусматривают раскрытие и предоставление информации при проведении финансовых операций (офшорные зоны)**. Данное требование распространяется на всю цепочку собственников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росроченной (неурегулированной) задолженности по налогам, сборам и иным обязательным платежам в бюджеты бюджетной системы Российской Федерации и в государственные внебюджетные фон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возбужденного производства по делу о несостоятельности (банкротстве) в соответствии с законодательством Российской Федерации о несостоятельности (банкротстве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 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*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505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кредитов 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481039"/>
            <a:ext cx="5788131" cy="6360328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186796"/>
              <a:ext cx="680728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 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631217"/>
              <a:ext cx="671389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8" y="6150726"/>
              <a:ext cx="670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1316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2459929" y="2277181"/>
            <a:ext cx="2681804" cy="727120"/>
            <a:chOff x="2157160" y="6383887"/>
            <a:chExt cx="2157585" cy="584988"/>
          </a:xfrm>
        </p:grpSpPr>
        <p:pic>
          <p:nvPicPr>
            <p:cNvPr id="77" name="Рисунок 76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188611" y="6414476"/>
              <a:ext cx="2097226" cy="523810"/>
            </a:xfrm>
            <a:prstGeom prst="rect">
              <a:avLst/>
            </a:prstGeom>
          </p:spPr>
        </p:pic>
        <p:sp>
          <p:nvSpPr>
            <p:cNvPr id="78" name="Скругленный прямоугольник 77"/>
            <p:cNvSpPr/>
            <p:nvPr/>
          </p:nvSpPr>
          <p:spPr>
            <a:xfrm>
              <a:off x="2157160" y="6383887"/>
              <a:ext cx="2157585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1F4E79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428182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731058" y="4522984"/>
            <a:ext cx="848275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57228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25265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370355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2"/>
              </a:rPr>
              <a:t>info</a:t>
            </a:r>
            <a:r>
              <a:rPr lang="ru-RU" sz="2800" u="sng" dirty="0">
                <a:hlinkClick r:id="rId2"/>
              </a:rPr>
              <a:t>@</a:t>
            </a:r>
            <a:r>
              <a:rPr lang="en-US" sz="2800" u="sng" dirty="0" err="1">
                <a:hlinkClick r:id="rId2"/>
              </a:rPr>
              <a:t>corpmsp</a:t>
            </a:r>
            <a:r>
              <a:rPr lang="ru-RU" sz="2800" u="sng" dirty="0">
                <a:hlinkClick r:id="rId2"/>
              </a:rPr>
              <a:t>.</a:t>
            </a:r>
            <a:r>
              <a:rPr lang="en-US" sz="2800" u="sng" dirty="0" err="1">
                <a:hlinkClick r:id="rId2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594</TotalTime>
  <Words>1770</Words>
  <Application>Microsoft Office PowerPoint</Application>
  <PresentationFormat>Произвольный</PresentationFormat>
  <Paragraphs>163</Paragraphs>
  <Slides>13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3" baseType="lpstr">
      <vt:lpstr>ＭＳ Ｐゴシック</vt:lpstr>
      <vt:lpstr>Aparajita</vt:lpstr>
      <vt:lpstr>Arial</vt:lpstr>
      <vt:lpstr>Arial Narrow</vt:lpstr>
      <vt:lpstr>Book Antiqua</vt:lpstr>
      <vt:lpstr>Calibri</vt:lpstr>
      <vt:lpstr>Courier New</vt:lpstr>
      <vt:lpstr>Times New Roman</vt:lpstr>
      <vt:lpstr>Wingdings</vt:lpstr>
      <vt:lpstr>Title</vt:lpstr>
      <vt:lpstr>Финансовая поддержка субъектов МСП</vt:lpstr>
      <vt:lpstr>О Корпорации</vt:lpstr>
      <vt:lpstr>Основные задачи Корпорации</vt:lpstr>
      <vt:lpstr>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Базовые требования к условиям кредитования конечных заемщиков</vt:lpstr>
      <vt:lpstr>Базовые требования к конечным заемщикам*</vt:lpstr>
      <vt:lpstr>Порядок получения Уполномоченным банком кредитов Банка России</vt:lpstr>
      <vt:lpstr>Презентация PowerPoint</vt:lpstr>
      <vt:lpstr>Приложение 1  Порядок отнесения ЮЛ и ИП к субъектам МСП в соответствии с 209-ФЗ 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</vt:vector>
  </TitlesOfParts>
  <Company>Deloitte &amp; Touch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Director</cp:lastModifiedBy>
  <cp:revision>4309</cp:revision>
  <cp:lastPrinted>2013-08-18T11:38:26Z</cp:lastPrinted>
  <dcterms:created xsi:type="dcterms:W3CDTF">2010-08-23T12:41:44Z</dcterms:created>
  <dcterms:modified xsi:type="dcterms:W3CDTF">2016-07-04T07:00:18Z</dcterms:modified>
</cp:coreProperties>
</file>